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1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8" r:id="rId13"/>
    <p:sldId id="269" r:id="rId14"/>
    <p:sldId id="270" r:id="rId15"/>
    <p:sldId id="271" r:id="rId16"/>
    <p:sldId id="273" r:id="rId17"/>
    <p:sldId id="272" r:id="rId18"/>
    <p:sldId id="274" r:id="rId19"/>
    <p:sldId id="275" r:id="rId20"/>
  </p:sldIdLst>
  <p:sldSz cx="12192000" cy="6858000"/>
  <p:notesSz cx="6858000" cy="91440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102" d="100"/>
          <a:sy n="102" d="100"/>
        </p:scale>
        <p:origin x="95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4CE5D3-F095-4C73-8C6C-DE952B75C21E}" type="datetimeFigureOut">
              <a:rPr lang="pt-PT" smtClean="0"/>
              <a:t>15-12-2021</a:t>
            </a:fld>
            <a:endParaRPr lang="pt-P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FD698B-5025-4281-BBF9-4BABBBC84338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1153903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FD698B-5025-4281-BBF9-4BABBBC84338}" type="slidenum">
              <a:rPr lang="pt-PT" smtClean="0"/>
              <a:t>2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8053929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FD698B-5025-4281-BBF9-4BABBBC84338}" type="slidenum">
              <a:rPr lang="pt-PT" smtClean="0"/>
              <a:t>19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376930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3366031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6729413" algn="r"/>
              </a:tabLst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6729413" algn="r"/>
              </a:tabLst>
              <a:defRPr>
                <a:latin typeface="+mj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6729413" algn="r"/>
              </a:tabLst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6729413" algn="r"/>
              </a:tabLst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49067559"/>
      </p:ext>
    </p:extLst>
  </p:cSld>
  <p:clrMapOvr>
    <a:masterClrMapping/>
  </p:clrMapOvr>
  <p:transition>
    <p:fade/>
  </p:transition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62256" y="405929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95300" y="1665288"/>
            <a:ext cx="2796541" cy="471646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554"/>
              </a:spcAft>
              <a:defRPr sz="969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665287"/>
            <a:ext cx="7916331" cy="4716461"/>
          </a:xfrm>
        </p:spPr>
        <p:txBody>
          <a:bodyPr>
            <a:noAutofit/>
          </a:bodyPr>
          <a:lstStyle>
            <a:lvl1pPr marL="0" indent="0" algn="l">
              <a:spcBef>
                <a:spcPts val="1662"/>
              </a:spcBef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7C54E12-F787-4B6D-B957-5BFB290BB220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ED842BC5-6476-461F-92C1-0BBC55269B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D5047E5-5216-4426-B515-7CA5331481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D0A93C1C-3209-487D-B5A2-563BA5D67C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8C70728D-0A6F-4BF8-A124-23D8A2DF30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B2CEECF2-0C1E-4BBC-BE4A-BC449A26DC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3B9E0F32-14A5-493D-83F2-F42588B924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692FD902-0E73-43D0-B1B8-FA25CD54FE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BCD3C252-8F19-4706-8A09-E47384633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32BC4765-ECD3-44BD-AD71-FC51A8134E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E37FCFBA-6C21-49F1-BD1E-969002567C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94220598"/>
      </p:ext>
    </p:extLst>
  </p:cSld>
  <p:clrMapOvr>
    <a:masterClrMapping/>
  </p:clrMapOvr>
  <p:transition>
    <p:fade/>
  </p:transition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665288"/>
            <a:ext cx="4188949" cy="4716463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>
                <a:latin typeface="+mj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31177863"/>
      </p:ext>
    </p:extLst>
  </p:cSld>
  <p:clrMapOvr>
    <a:masterClrMapping/>
  </p:clrMapOvr>
  <p:transition>
    <p:fade/>
  </p:transition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539272"/>
      </p:ext>
    </p:extLst>
  </p:cSld>
  <p:clrMapOvr>
    <a:masterClrMapping/>
  </p:clrMapOvr>
  <p:transition>
    <p:fade/>
  </p:transition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 sz="1600"/>
            </a:lvl1pPr>
            <a:lvl2pPr marL="177800" indent="-1778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600"/>
            </a:lvl2pPr>
            <a:lvl3pPr marL="3810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600"/>
            </a:lvl3pPr>
            <a:lvl4pPr marL="584200" indent="-1778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600"/>
            </a:lvl4pPr>
            <a:lvl5pPr marL="7874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 sz="1600"/>
            </a:lvl1pPr>
            <a:lvl2pPr marL="177800" indent="-1778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600"/>
            </a:lvl2pPr>
            <a:lvl3pPr marL="3810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600"/>
            </a:lvl3pPr>
            <a:lvl4pPr marL="584200" indent="-1778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600"/>
            </a:lvl4pPr>
            <a:lvl5pPr marL="7874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E5225F53-1C15-499B-9179-65E3B2184C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14EA394-D3CD-41FC-B7FF-082F08C15A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76331311"/>
      </p:ext>
    </p:extLst>
  </p:cSld>
  <p:clrMapOvr>
    <a:masterClrMapping/>
  </p:clrMapOvr>
  <p:transition>
    <p:fade/>
  </p:transition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87775693"/>
      </p:ext>
    </p:extLst>
  </p:cSld>
  <p:clrMapOvr>
    <a:masterClrMapping/>
  </p:clrMapOvr>
  <p:transition>
    <p:fade/>
  </p:transition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>
            <a:noAutofit/>
          </a:bodyPr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>
            <a:noAutofit/>
          </a:bodyPr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77661728"/>
      </p:ext>
    </p:extLst>
  </p:cSld>
  <p:clrMapOvr>
    <a:masterClrMapping/>
  </p:clrMapOvr>
  <p:transition>
    <p:fade/>
  </p:transition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665289"/>
            <a:ext cx="6240000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CFBECF-F261-4066-B77C-A1FCF54AA0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6E9BEEDA-6F6F-4BD9-B1D8-9731D1B037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74171430"/>
      </p:ext>
    </p:extLst>
  </p:cSld>
  <p:clrMapOvr>
    <a:masterClrMapping/>
  </p:clrMapOvr>
  <p:transition>
    <p:fade/>
  </p:transition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1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8009483-F3D1-4AD9-8031-CEB4620DB8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1FE75E2-F986-4CD3-8A43-338DEE272C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93994335"/>
      </p:ext>
    </p:extLst>
  </p:cSld>
  <p:clrMapOvr>
    <a:masterClrMapping/>
  </p:clrMapOvr>
  <p:transition>
    <p:fade/>
  </p:transition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59145"/>
            <a:ext cx="3549549" cy="39825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28673029"/>
      </p:ext>
    </p:extLst>
  </p:cSld>
  <p:clrMapOvr>
    <a:masterClrMapping/>
  </p:clrMapOvr>
  <p:transition>
    <p:fade/>
  </p:transition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2317752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B36819A-C0CE-4CC8-96BE-D57C8135F44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14F8B0D-4D62-4988-B307-1BB6BBEEC1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18432115"/>
      </p:ext>
    </p:extLst>
  </p:cSld>
  <p:clrMapOvr>
    <a:masterClrMapping/>
  </p:clrMapOvr>
  <p:transition>
    <p:fade/>
  </p:transition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672337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665377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753468-486C-4E44-B97B-3442F4990D23}"/>
              </a:ext>
            </a:extLst>
          </p:cNvPr>
          <p:cNvSpPr/>
          <p:nvPr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4C2095-0900-4569-A109-645CF4777A8D}"/>
              </a:ext>
            </a:extLst>
          </p:cNvPr>
          <p:cNvSpPr/>
          <p:nvPr/>
        </p:nvSpPr>
        <p:spPr>
          <a:xfrm>
            <a:off x="618490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8A3CDF-F5A1-44AC-9648-5A3D0461AB03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8A9EEEA-4AE4-43FE-9262-BC961D83A4C2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E14920E0-BAB9-44E6-A33A-5F4B6E751C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B186F496-8F3D-4D1B-850D-31517B35E6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34327236"/>
      </p:ext>
    </p:extLst>
  </p:cSld>
  <p:clrMapOvr>
    <a:masterClrMapping/>
  </p:clrMapOvr>
  <p:transition>
    <p:fade/>
  </p:transition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46190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83703CC-2625-4A3C-9057-35BB359C858C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97003E-0D5A-4199-A9D0-BFB3CBF4A0D4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074C3BE-314B-470C-927B-DBC4A457D9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E8EE9A28-CEAF-410C-B504-E930E2347F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94061580"/>
      </p:ext>
    </p:extLst>
  </p:cSld>
  <p:clrMapOvr>
    <a:masterClrMapping/>
  </p:clrMapOvr>
  <p:transition>
    <p:fade/>
  </p:transition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56702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2" name="Rectangle 11"/>
          <p:cNvSpPr/>
          <p:nvPr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49682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4993" y="4249682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32462FA-7D20-4E6B-9335-5F0CC56925D0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5AF616D-3F67-4FD6-BC16-ABC13A0ACA22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1986DCA-1B97-4EC9-A852-97E5340E26DC}"/>
              </a:ext>
            </a:extLst>
          </p:cNvPr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21E9D44-54F1-4CE7-8FDF-78DC08D29E3F}"/>
              </a:ext>
            </a:extLst>
          </p:cNvPr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CAAD7DA-8C87-4BD9-82C1-81D09B5A7A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9957D34C-FCB8-47FD-97FA-BF6A4F7FE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DE12908D-2FA0-48AB-B2FF-08FF433571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8DB1A9EF-276C-4FE9-B33D-E2267D9DB46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619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2A7C1E0-8314-4B78-902A-0828B984B27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37297" y="4249681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9057B8DE-1E5B-4E78-8FC1-456B14A880F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46194" y="4249681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14137881"/>
      </p:ext>
    </p:extLst>
  </p:cSld>
  <p:clrMapOvr>
    <a:masterClrMapping/>
  </p:clrMapOvr>
  <p:transition>
    <p:fade/>
  </p:transition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4000" y="1700214"/>
            <a:ext cx="356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CD5B122-EABE-4ECA-819A-54D0AA2130F9}"/>
              </a:ext>
            </a:extLst>
          </p:cNvPr>
          <p:cNvSpPr/>
          <p:nvPr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FF78E2E-2B9E-4E32-8A54-BC55293CD3C9}"/>
              </a:ext>
            </a:extLst>
          </p:cNvPr>
          <p:cNvSpPr/>
          <p:nvPr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0F314D-E019-4AD3-B954-818463FF0B9D}"/>
              </a:ext>
            </a:extLst>
          </p:cNvPr>
          <p:cNvSpPr/>
          <p:nvPr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69DF469-1C05-4DC1-B6C9-2712D9E1B8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7DBFC5B-8E23-48FC-97C3-38FCFE625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39EC70-7463-4AC3-840B-4FCA6DF3973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2874" y="1857891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85F1297-532C-478B-8C8C-A7A406ADF2C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25938" y="1861481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72E6BFE1-0779-4417-985A-E1020673A1F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48737" y="1857890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24203330"/>
      </p:ext>
    </p:extLst>
  </p:cSld>
  <p:clrMapOvr>
    <a:masterClrMapping/>
  </p:clrMapOvr>
  <p:transition>
    <p:fade/>
  </p:transition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674087"/>
            <a:ext cx="36957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674087"/>
            <a:ext cx="3683953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674087"/>
            <a:ext cx="36576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18"/>
          <p:cNvSpPr>
            <a:spLocks noGrp="1"/>
          </p:cNvSpPr>
          <p:nvPr>
            <p:ph idx="16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7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F15AF63-D425-4D3F-B484-4B7A0F329F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7002A92-1CF7-42F5-B761-7DB3C2CF11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85179076"/>
      </p:ext>
    </p:extLst>
  </p:cSld>
  <p:clrMapOvr>
    <a:masterClrMapping/>
  </p:clrMapOvr>
  <p:transition>
    <p:fade/>
  </p:transition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3B6715C-C932-49B3-880D-8C5710C8F9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EA7B5E5-1F8D-43CD-9AD2-8B87181DC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7540908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20086104"/>
      </p:ext>
    </p:extLst>
  </p:cSld>
  <p:clrMapOvr>
    <a:masterClrMapping/>
  </p:clrMapOvr>
  <p:transition>
    <p:fade/>
  </p:transition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72772755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75423124"/>
      </p:ext>
    </p:extLst>
  </p:cSld>
  <p:clrMapOvr>
    <a:masterClrMapping/>
  </p:clrMapOvr>
  <p:transition>
    <p:fade/>
  </p:transition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5EEA3F2-C909-4275-956A-5518D341D424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619F8D2D-E0FF-4267-BB4C-23E0F19AA0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0BDA8F6-D1EC-4590-8515-7F2E0D9EE1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8E570DBD-3EC7-4EE8-886A-A6498BEC37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B1656288-29CD-4B95-A46B-7B8DA7860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C3894AF9-2B03-4231-9AEA-EC49F5E19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F1C43784-6F73-4D9F-8497-B40FDBB85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E031C0BD-B701-4255-B53D-1A0FB8066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1F07466D-8C2C-4286-9984-919330135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F2700776-9B5A-4A2C-BA8E-E8C5B03A0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1D768AB6-AEBA-4689-BCE3-70447F634D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56716888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1539789"/>
      </p:ext>
    </p:extLst>
  </p:cSld>
  <p:clrMapOvr>
    <a:masterClrMapping/>
  </p:clrMapOvr>
  <p:transition>
    <p:fade/>
  </p:transition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36750E60-A7FD-4A44-A97A-8D4CCD3E69D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F132D077-AD8F-41F9-85EC-B6AD90F56D1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63ABF637-0891-4394-903F-623BA128910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7">
              <a:extLst>
                <a:ext uri="{FF2B5EF4-FFF2-40B4-BE49-F238E27FC236}">
                  <a16:creationId xmlns:a16="http://schemas.microsoft.com/office/drawing/2014/main" id="{32D2B69F-CFD8-40B7-BBFA-1F51B81080A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2D079BF8-6F2C-4FA6-9664-58D8D9044F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9">
              <a:extLst>
                <a:ext uri="{FF2B5EF4-FFF2-40B4-BE49-F238E27FC236}">
                  <a16:creationId xmlns:a16="http://schemas.microsoft.com/office/drawing/2014/main" id="{26E1E321-CD6A-4519-8236-9B2F180A61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10">
              <a:extLst>
                <a:ext uri="{FF2B5EF4-FFF2-40B4-BE49-F238E27FC236}">
                  <a16:creationId xmlns:a16="http://schemas.microsoft.com/office/drawing/2014/main" id="{2DB65544-02DA-49BD-A626-B238F3631FA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CEA7B021-F691-4B7E-A3C5-7DCC5AC3F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65750B48-3F67-4ABB-AD6C-DDFA04E506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3">
              <a:extLst>
                <a:ext uri="{FF2B5EF4-FFF2-40B4-BE49-F238E27FC236}">
                  <a16:creationId xmlns:a16="http://schemas.microsoft.com/office/drawing/2014/main" id="{D65DE2DD-2737-443D-A308-221B702F77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4">
              <a:extLst>
                <a:ext uri="{FF2B5EF4-FFF2-40B4-BE49-F238E27FC236}">
                  <a16:creationId xmlns:a16="http://schemas.microsoft.com/office/drawing/2014/main" id="{AFAE2DF6-BAB8-4498-9530-0325605EFE3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2" name="Picture Placeholder 8">
            <a:extLst>
              <a:ext uri="{FF2B5EF4-FFF2-40B4-BE49-F238E27FC236}">
                <a16:creationId xmlns:a16="http://schemas.microsoft.com/office/drawing/2014/main" id="{DA2D2E21-4D6B-46BE-921A-30F48368589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B5E5B075-898B-41DD-A664-E7ECFAF517A7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332396"/>
            <a:ext cx="4446269" cy="464044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2100" b="0">
                <a:solidFill>
                  <a:schemeClr val="accent1"/>
                </a:solidFill>
                <a:latin typeface="+mn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B80F05E4-6753-46C3-B025-5165A247D6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5140619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Picture Placeholder 8">
            <a:extLst>
              <a:ext uri="{FF2B5EF4-FFF2-40B4-BE49-F238E27FC236}">
                <a16:creationId xmlns:a16="http://schemas.microsoft.com/office/drawing/2014/main" id="{DA2D2E21-4D6B-46BE-921A-30F48368589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8787BF7-B65F-4132-9572-17C6D390B5D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DAD4EB28-D252-4B0F-89D1-B5C7D92A2B6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C80CBDC2-B8E0-4A26-B489-DD38BF3D2E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7">
              <a:extLst>
                <a:ext uri="{FF2B5EF4-FFF2-40B4-BE49-F238E27FC236}">
                  <a16:creationId xmlns:a16="http://schemas.microsoft.com/office/drawing/2014/main" id="{839933E5-3888-4915-9532-1B1804EEEBD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3A0C9D1D-E7FB-49DC-9B7E-DB67B9E460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Rectangle 9">
              <a:extLst>
                <a:ext uri="{FF2B5EF4-FFF2-40B4-BE49-F238E27FC236}">
                  <a16:creationId xmlns:a16="http://schemas.microsoft.com/office/drawing/2014/main" id="{3C9ADC42-132C-4F1A-8847-897C75A86D1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10">
              <a:extLst>
                <a:ext uri="{FF2B5EF4-FFF2-40B4-BE49-F238E27FC236}">
                  <a16:creationId xmlns:a16="http://schemas.microsoft.com/office/drawing/2014/main" id="{C04470E4-39AA-4642-A154-0201E82E944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1">
              <a:extLst>
                <a:ext uri="{FF2B5EF4-FFF2-40B4-BE49-F238E27FC236}">
                  <a16:creationId xmlns:a16="http://schemas.microsoft.com/office/drawing/2014/main" id="{58F3BEA7-1D38-4A94-BD34-D85C91D66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2">
              <a:extLst>
                <a:ext uri="{FF2B5EF4-FFF2-40B4-BE49-F238E27FC236}">
                  <a16:creationId xmlns:a16="http://schemas.microsoft.com/office/drawing/2014/main" id="{E88D1199-0315-4D10-98AE-D0F6A24AF7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3">
              <a:extLst>
                <a:ext uri="{FF2B5EF4-FFF2-40B4-BE49-F238E27FC236}">
                  <a16:creationId xmlns:a16="http://schemas.microsoft.com/office/drawing/2014/main" id="{CC9ED684-21F9-469F-B187-E0B60B8C884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4">
              <a:extLst>
                <a:ext uri="{FF2B5EF4-FFF2-40B4-BE49-F238E27FC236}">
                  <a16:creationId xmlns:a16="http://schemas.microsoft.com/office/drawing/2014/main" id="{21CA603B-B2A7-46CE-8320-E7BC3A2FC8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0" name="Title 1">
            <a:extLst>
              <a:ext uri="{FF2B5EF4-FFF2-40B4-BE49-F238E27FC236}">
                <a16:creationId xmlns:a16="http://schemas.microsoft.com/office/drawing/2014/main" id="{AD6D39C5-D610-43DF-ABC3-8BCAE7C51C9B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332396"/>
            <a:ext cx="4446269" cy="464044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2100" b="0">
                <a:solidFill>
                  <a:schemeClr val="accent1"/>
                </a:solidFill>
                <a:latin typeface="+mn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8C35492B-BEF1-4947-B04F-1EA2C04E6A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8863721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154613" y="1665288"/>
            <a:ext cx="4478337" cy="4622506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8D969C3-195F-423F-8E4C-37C200B2784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02920" y="1665288"/>
            <a:ext cx="4492938" cy="4622507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2BE3D10-8852-470B-A0F7-BD2D67BD6C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49224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8137D4B0-63D3-49CA-99A0-9D1152127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329184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24208235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titl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278525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B5C7D5EA-1E5E-4A8B-8031-E671BF1840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476" y="978408"/>
            <a:ext cx="2485950" cy="19794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4F4BE6A-E314-4CCF-953A-910AA41328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320040"/>
            <a:ext cx="2485950" cy="6583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54642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ection title divider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905805C-2EFB-4B40-A3FD-BFD14E8E8A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981678"/>
            <a:ext cx="2485950" cy="19794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9AA31-7B7D-4A2C-B169-844DD4E92D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320040"/>
            <a:ext cx="2485950" cy="6616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D8BE3D6-84AA-4B1F-AC4E-6827A998499B}"/>
              </a:ext>
            </a:extLst>
          </p:cNvPr>
          <p:cNvSpPr txBox="1"/>
          <p:nvPr userDrawn="1"/>
        </p:nvSpPr>
        <p:spPr>
          <a:xfrm>
            <a:off x="5181533" y="6476999"/>
            <a:ext cx="445141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EE7327F-2791-4B24-9B91-F5FBE3C53605}"/>
              </a:ext>
            </a:extLst>
          </p:cNvPr>
          <p:cNvSpPr txBox="1"/>
          <p:nvPr userDrawn="1"/>
        </p:nvSpPr>
        <p:spPr>
          <a:xfrm>
            <a:off x="501649" y="6477000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Member firms and DTTL] - © 2021 (legal entity) 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6AD7FC-10F5-4496-9067-B3A746CE422A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752928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0104438" cy="6858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2920" y="320040"/>
            <a:ext cx="5260311" cy="15327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bg1"/>
                </a:solidFill>
              </a:defRPr>
            </a:lvl1pPr>
            <a:lvl2pPr marL="0" indent="0" algn="l">
              <a:buNone/>
              <a:defRPr sz="20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76663553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ideo Title whit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502920" y="320040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02920" y="1700213"/>
            <a:ext cx="9163049" cy="4598988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8FE4063-5259-4235-8627-006BC02E5A0A}"/>
              </a:ext>
            </a:extLst>
          </p:cNvPr>
          <p:cNvSpPr txBox="1"/>
          <p:nvPr userDrawn="1"/>
        </p:nvSpPr>
        <p:spPr>
          <a:xfrm>
            <a:off x="5181533" y="6476999"/>
            <a:ext cx="445141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EB8A8E6-2D01-4C42-8261-4BB28D9AC08D}"/>
              </a:ext>
            </a:extLst>
          </p:cNvPr>
          <p:cNvSpPr txBox="1"/>
          <p:nvPr userDrawn="1"/>
        </p:nvSpPr>
        <p:spPr>
          <a:xfrm>
            <a:off x="501649" y="6477000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Member firms and DTTL] - © 2021 (legal entity) 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5AE6E4C-F941-48D5-A8B3-519A5C55C01C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81663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9147174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1A73246D-89F3-4A31-9130-FD7F7DE135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49224"/>
            <a:ext cx="91649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06D6812-E756-45BA-8970-FC93BD9D4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320040"/>
            <a:ext cx="91649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9797267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711950" y="1626099"/>
            <a:ext cx="2921000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1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2920" y="1655763"/>
            <a:ext cx="6048375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D6247C9E-C9E2-4FE8-993B-FAD207918B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49224"/>
            <a:ext cx="91649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1056DF72-8D9E-488C-9A6C-AD8D40976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320040"/>
            <a:ext cx="91649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1989687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670834"/>
            <a:ext cx="105410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5974439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2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4492938" cy="4622507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54613" y="1656000"/>
            <a:ext cx="4478337" cy="4631795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73033162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2920" y="1590675"/>
            <a:ext cx="9163050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53697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17517" y="2051998"/>
            <a:ext cx="2924184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17517" y="1659145"/>
            <a:ext cx="2924184" cy="37380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636674" y="2051998"/>
            <a:ext cx="2919701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636674" y="1659145"/>
            <a:ext cx="2919701" cy="37380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754669" y="2051998"/>
            <a:ext cx="2916382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754669" y="1659145"/>
            <a:ext cx="2916382" cy="37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2920" y="5982790"/>
            <a:ext cx="9164950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6ADC734-DF7C-441E-A0B0-68F2106AC65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49224"/>
            <a:ext cx="91649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DE5176EB-9DB0-4495-8080-703DA192A0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320040"/>
            <a:ext cx="91649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03102494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2920" y="1655762"/>
            <a:ext cx="4491038" cy="4327027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154613" y="2125014"/>
            <a:ext cx="4478337" cy="3857776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154613" y="1655763"/>
            <a:ext cx="447833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2920" y="5982790"/>
            <a:ext cx="91630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C9CE2692-2D89-4EB2-836A-EC8411A655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49224"/>
            <a:ext cx="91649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91D14A9F-524A-4311-A11D-1C4EF7B855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320040"/>
            <a:ext cx="91649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70658320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2" y="1705668"/>
            <a:ext cx="9163049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91630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31208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fogr/Map Gray 11">
    <p:bg>
      <p:bgPr>
        <a:solidFill>
          <a:srgbClr val="535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3584575" y="1700213"/>
            <a:ext cx="6048376" cy="4598988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2920" y="1665288"/>
            <a:ext cx="2935600" cy="4622507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 sz="13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 sz="1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 sz="13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 sz="13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sz="1300" baseline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75D21722-4DE1-4DEF-BDFA-DCEC0A30B0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320040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3CAB8A-F192-47BB-A5B9-9F73DDEFA140}"/>
              </a:ext>
            </a:extLst>
          </p:cNvPr>
          <p:cNvSpPr txBox="1"/>
          <p:nvPr userDrawn="1"/>
        </p:nvSpPr>
        <p:spPr>
          <a:xfrm>
            <a:off x="5181533" y="6476999"/>
            <a:ext cx="445141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658DC8D-9F39-4E1D-90B1-9D070CAD6128}"/>
              </a:ext>
            </a:extLst>
          </p:cNvPr>
          <p:cNvSpPr txBox="1"/>
          <p:nvPr userDrawn="1"/>
        </p:nvSpPr>
        <p:spPr>
          <a:xfrm>
            <a:off x="501649" y="6477000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8798D4-2938-44E3-89A4-055BB16F5CA3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3514625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2949619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4755692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1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3812343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pyright"/>
          <p:cNvSpPr txBox="1"/>
          <p:nvPr userDrawn="1"/>
        </p:nvSpPr>
        <p:spPr>
          <a:xfrm>
            <a:off x="501650" y="6077388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Member firms and DTTL] - © 2021 (legal entity) 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23264" y="5457035"/>
            <a:ext cx="1498834" cy="842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078798"/>
      </p:ext>
    </p:extLst>
  </p:cSld>
  <p:clrMapOvr>
    <a:masterClrMapping/>
  </p:clrMapOvr>
  <p:hf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1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3812343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pyright"/>
          <p:cNvSpPr txBox="1"/>
          <p:nvPr userDrawn="1"/>
        </p:nvSpPr>
        <p:spPr>
          <a:xfrm>
            <a:off x="501650" y="6077388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Member firms and DTTL] - © 2021 (legal entity) 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</p:spTree>
    <p:extLst>
      <p:ext uri="{BB962C8B-B14F-4D97-AF65-F5344CB8AC3E}">
        <p14:creationId xmlns:p14="http://schemas.microsoft.com/office/powerpoint/2010/main" val="1194608613"/>
      </p:ext>
    </p:extLst>
  </p:cSld>
  <p:clrMapOvr>
    <a:masterClrMapping/>
  </p:clrMapOvr>
  <p:hf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3812343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FBFB952-2833-4770-B558-09EBDEAF842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304A3004-86B0-4C46-8FB4-FC9E45DC480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28CD1CC6-61E4-4EA8-BD04-0FA5CC6C638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BDCC14FC-1DA8-4071-A1E9-5623D428D07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3BCD6035-CB07-42B5-B50C-6B88DB0441C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46223369-9753-4851-8485-49FD7580524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6C9EF874-254F-48B5-ABBC-6AB12E52A36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4EF4D6BB-7A38-422E-A209-8429CB5CA9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E7FF38AF-351F-43A5-9C50-A18F3A7A5C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23334D6B-5EE0-41DA-AEBA-6C8F35E7D64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F9A8AD37-1780-42CD-B3E6-3FF418FA05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20" name="Copyright"/>
          <p:cNvSpPr txBox="1"/>
          <p:nvPr userDrawn="1"/>
        </p:nvSpPr>
        <p:spPr>
          <a:xfrm>
            <a:off x="501650" y="6077388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Member firms and DTTL] - © 2021 (legal entity) </a:t>
            </a:r>
            <a:b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</p:spTree>
    <p:extLst>
      <p:ext uri="{BB962C8B-B14F-4D97-AF65-F5344CB8AC3E}">
        <p14:creationId xmlns:p14="http://schemas.microsoft.com/office/powerpoint/2010/main" val="1268065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452A60FA-C95E-401E-9AF3-D27C8C88BCCB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Member firms and DTTL] - © 2021 (legal entity) 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32543E-E807-47A4-A234-D5C7012187B4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3329625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E8E60749-A3E0-4E09-BF50-6D6B361BEF91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Member firms and DTTL] - © 2021 (legal entity) 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6991217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65288"/>
            <a:ext cx="9277349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36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8305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8171403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92260786"/>
      </p:ext>
    </p:extLst>
  </p:cSld>
  <p:clrMapOvr>
    <a:masterClrMapping/>
  </p:clrMapOvr>
  <p:transition>
    <p:fade/>
  </p:transition>
  <p:hf hd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36230339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52" imgW="270" imgH="270" progId="TCLayout.ActiveDocument.1">
                  <p:embed/>
                </p:oleObj>
              </mc:Choice>
              <mc:Fallback>
                <p:oleObj name="think-cell Slide" r:id="rId52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198968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8" name="Copyright"/>
          <p:cNvSpPr txBox="1"/>
          <p:nvPr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Member firms and DTTL] - © 2021 (legal entity) </a:t>
            </a:r>
            <a:b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8C204D3-C6D1-4976-9970-8E45A8984A04}"/>
              </a:ext>
            </a:extLst>
          </p:cNvPr>
          <p:cNvSpPr txBox="1"/>
          <p:nvPr userDrawn="1"/>
        </p:nvSpPr>
        <p:spPr>
          <a:xfrm>
            <a:off x="5181533" y="6476999"/>
            <a:ext cx="445141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9" name="Rectangle 8">
            <a:hlinkClick r:id="" action="ppaction://noaction"/>
            <a:extLst>
              <a:ext uri="{FF2B5EF4-FFF2-40B4-BE49-F238E27FC236}">
                <a16:creationId xmlns:a16="http://schemas.microsoft.com/office/drawing/2014/main" id="{C2320166-2AED-4CD3-A893-D94919B09F44}"/>
              </a:ext>
            </a:extLst>
          </p:cNvPr>
          <p:cNvSpPr/>
          <p:nvPr userDrawn="1"/>
        </p:nvSpPr>
        <p:spPr bwMode="gray">
          <a:xfrm>
            <a:off x="11287631" y="1017588"/>
            <a:ext cx="712282" cy="47635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hlinkClick r:id="" action="ppaction://noaction"/>
            <a:extLst>
              <a:ext uri="{FF2B5EF4-FFF2-40B4-BE49-F238E27FC236}">
                <a16:creationId xmlns:a16="http://schemas.microsoft.com/office/drawing/2014/main" id="{E5C10B32-E2D1-4E1E-AF8B-C1CB0642773B}"/>
              </a:ext>
            </a:extLst>
          </p:cNvPr>
          <p:cNvSpPr/>
          <p:nvPr userDrawn="1"/>
        </p:nvSpPr>
        <p:spPr bwMode="gray">
          <a:xfrm>
            <a:off x="11287631" y="1618249"/>
            <a:ext cx="712282" cy="47635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hlinkClick r:id="" action="ppaction://noaction"/>
            <a:extLst>
              <a:ext uri="{FF2B5EF4-FFF2-40B4-BE49-F238E27FC236}">
                <a16:creationId xmlns:a16="http://schemas.microsoft.com/office/drawing/2014/main" id="{77270737-F2AF-4A5D-B2EE-60D8BD21B026}"/>
              </a:ext>
            </a:extLst>
          </p:cNvPr>
          <p:cNvSpPr/>
          <p:nvPr userDrawn="1"/>
        </p:nvSpPr>
        <p:spPr bwMode="gray">
          <a:xfrm>
            <a:off x="11287631" y="2198729"/>
            <a:ext cx="712282" cy="47635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hlinkClick r:id="" action="ppaction://noaction"/>
            <a:extLst>
              <a:ext uri="{FF2B5EF4-FFF2-40B4-BE49-F238E27FC236}">
                <a16:creationId xmlns:a16="http://schemas.microsoft.com/office/drawing/2014/main" id="{B2DA55B8-7FB5-415F-98A3-9E2DD1DAAA41}"/>
              </a:ext>
            </a:extLst>
          </p:cNvPr>
          <p:cNvSpPr/>
          <p:nvPr userDrawn="1"/>
        </p:nvSpPr>
        <p:spPr bwMode="gray">
          <a:xfrm>
            <a:off x="11287631" y="2812509"/>
            <a:ext cx="712282" cy="47635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7175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8" r:id="rId37"/>
    <p:sldLayoutId id="2147483699" r:id="rId38"/>
    <p:sldLayoutId id="2147483700" r:id="rId39"/>
    <p:sldLayoutId id="2147483701" r:id="rId40"/>
    <p:sldLayoutId id="2147483702" r:id="rId41"/>
    <p:sldLayoutId id="2147483703" r:id="rId42"/>
    <p:sldLayoutId id="2147483704" r:id="rId43"/>
    <p:sldLayoutId id="2147483705" r:id="rId44"/>
    <p:sldLayoutId id="2147483706" r:id="rId45"/>
    <p:sldLayoutId id="2147483707" r:id="rId46"/>
    <p:sldLayoutId id="2147483708" r:id="rId47"/>
    <p:sldLayoutId id="2147483709" r:id="rId48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4020">
          <p15:clr>
            <a:srgbClr val="F26B43"/>
          </p15:clr>
        </p15:guide>
        <p15:guide id="8" orient="horz" pos="4080">
          <p15:clr>
            <a:srgbClr val="F26B43"/>
          </p15:clr>
        </p15:guide>
        <p15:guide id="27" pos="7368">
          <p15:clr>
            <a:srgbClr val="F26B43"/>
          </p15:clr>
        </p15:guide>
        <p15:guide id="51" orient="horz" pos="4081">
          <p15:clr>
            <a:srgbClr val="A4A3A4"/>
          </p15:clr>
        </p15:guide>
        <p15:guide id="52" pos="312">
          <p15:clr>
            <a:srgbClr val="F26B43"/>
          </p15:clr>
        </p15:guide>
        <p15:guide id="53" pos="1392">
          <p15:clr>
            <a:srgbClr val="F26B43"/>
          </p15:clr>
        </p15:guide>
        <p15:guide id="54" pos="1512">
          <p15:clr>
            <a:srgbClr val="F26B43"/>
          </p15:clr>
        </p15:guide>
        <p15:guide id="55" pos="2592">
          <p15:clr>
            <a:srgbClr val="F26B43"/>
          </p15:clr>
        </p15:guide>
        <p15:guide id="56" pos="2712">
          <p15:clr>
            <a:srgbClr val="F26B43"/>
          </p15:clr>
        </p15:guide>
        <p15:guide id="57" pos="3840">
          <p15:clr>
            <a:srgbClr val="F26B43"/>
          </p15:clr>
        </p15:guide>
        <p15:guide id="58" pos="3768">
          <p15:clr>
            <a:srgbClr val="F26B43"/>
          </p15:clr>
        </p15:guide>
        <p15:guide id="59" pos="3912">
          <p15:clr>
            <a:srgbClr val="F26B43"/>
          </p15:clr>
        </p15:guide>
        <p15:guide id="60" pos="5112">
          <p15:clr>
            <a:srgbClr val="F26B43"/>
          </p15:clr>
        </p15:guide>
        <p15:guide id="61" pos="6168">
          <p15:clr>
            <a:srgbClr val="F26B43"/>
          </p15:clr>
        </p15:guide>
        <p15:guide id="62" pos="6288">
          <p15:clr>
            <a:srgbClr val="F26B43"/>
          </p15:clr>
        </p15:guide>
        <p15:guide id="63" pos="4968">
          <p15:clr>
            <a:srgbClr val="F26B43"/>
          </p15:clr>
        </p15:guide>
        <p15:guide id="64" orient="horz" pos="120">
          <p15:clr>
            <a:srgbClr val="F26B43"/>
          </p15:clr>
        </p15:guide>
        <p15:guide id="65" orient="horz" pos="1056">
          <p15:clr>
            <a:srgbClr val="F26B43"/>
          </p15:clr>
        </p15:guide>
        <p15:guide id="66" orient="horz" pos="22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F2CCAF94-8305-42EA-8362-C3ECA440200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A48FA6-1853-4F4E-998F-F7022094EC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PT" dirty="0" err="1"/>
              <a:t>Exercicios</a:t>
            </a:r>
            <a:r>
              <a:rPr lang="pt-PT" dirty="0"/>
              <a:t> - Jav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3A8DF1F-F111-4FDF-8AE9-6A3412056BA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PT" dirty="0"/>
              <a:t>Tecnologias de Mercado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997A1DBC-E12C-461D-9B29-0690CB22B3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5637" y="1067836"/>
            <a:ext cx="5800725" cy="3818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0890540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D58B007-FF2A-4616-84E0-454EAC7302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1671" y="775984"/>
            <a:ext cx="7839075" cy="2638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018262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D58B007-FF2A-4616-84E0-454EAC7302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1671" y="775984"/>
            <a:ext cx="7839075" cy="263842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7EB3E4A-7FAF-4DEB-99EC-CFD4423CC9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4378865"/>
            <a:ext cx="4591050" cy="1504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172219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2ADBB6D-6E8C-4892-967A-AEDEA7D929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2290" y="1320630"/>
            <a:ext cx="4810125" cy="1609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336938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2ADBB6D-6E8C-4892-967A-AEDEA7D929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2290" y="1320630"/>
            <a:ext cx="4810125" cy="160972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AA10E05-3424-4E76-B96C-593A6042BB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58165" y="4072747"/>
            <a:ext cx="3667125" cy="1533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307723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76AD99B-F452-40F0-BDAF-8D5E1AE2B7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0802" y="1000428"/>
            <a:ext cx="4791075" cy="2600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349027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76AD99B-F452-40F0-BDAF-8D5E1AE2B7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0802" y="1000428"/>
            <a:ext cx="4791075" cy="260032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82ED00E-C8FD-44D9-BE02-232F08F747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16944" y="4548998"/>
            <a:ext cx="1876425" cy="1495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00427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339F365-AA39-4891-B897-BE19B2DF0A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1216" y="126054"/>
            <a:ext cx="8553450" cy="590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328301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339F365-AA39-4891-B897-BE19B2DF0A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1216" y="126054"/>
            <a:ext cx="8553450" cy="59055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D92868C-5867-4278-BD71-7BFFB3865A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02069" y="126054"/>
            <a:ext cx="7648575" cy="43719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79215674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84033C1-E3BF-4E02-A9D8-61B272A952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3355" y="481924"/>
            <a:ext cx="4438650" cy="1866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4014200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84033C1-E3BF-4E02-A9D8-61B272A952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3355" y="481924"/>
            <a:ext cx="4438650" cy="18669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C55E3B4-FF12-42E6-A988-DCE658734A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95469" y="4306617"/>
            <a:ext cx="6534150" cy="1571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835222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05F1AE0-F78E-4B70-BC47-706A7D33DA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300" y="295275"/>
            <a:ext cx="8591550" cy="4210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47201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05F1AE0-F78E-4B70-BC47-706A7D33DA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5300" y="295275"/>
            <a:ext cx="8591550" cy="421005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A45AD59-4558-4CAF-8ED5-270B5ED99F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67712" y="4714875"/>
            <a:ext cx="1724025" cy="1466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77747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544EF431-ED8F-4CC1-A217-8C51F3E492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6383" y="920885"/>
            <a:ext cx="6705600" cy="198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3768793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544EF431-ED8F-4CC1-A217-8C51F3E492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6383" y="920885"/>
            <a:ext cx="6705600" cy="19812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A3D082D-44DD-409C-9715-20A74851F0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6311" y="3955916"/>
            <a:ext cx="5124450" cy="1838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38827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CFA499B-C465-43F1-9CAD-3B59734794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6565" y="2538412"/>
            <a:ext cx="8448675" cy="1781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21806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F1C3991-E6DD-4F61-BB3F-85701E9E22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8325" y="2257425"/>
            <a:ext cx="8515350" cy="234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349363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0ADE05A-2444-40DA-A2C0-E7E65B2E5E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2526" y="1124356"/>
            <a:ext cx="5410200" cy="190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425078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0ADE05A-2444-40DA-A2C0-E7E65B2E5E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2526" y="1124356"/>
            <a:ext cx="5410200" cy="1905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D31038D-F5EB-4ECC-8AC0-59A201B360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26980" y="3864110"/>
            <a:ext cx="3076575" cy="1581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198437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6" id="{F521DB89-8237-4346-A0CD-2D263F55148F}" vid="{61457B8D-5141-460E-AA74-772BF3CA782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76</TotalTime>
  <Words>8</Words>
  <Application>Microsoft Office PowerPoint</Application>
  <PresentationFormat>Widescreen</PresentationFormat>
  <Paragraphs>4</Paragraphs>
  <Slides>1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6" baseType="lpstr">
      <vt:lpstr>Arial</vt:lpstr>
      <vt:lpstr>Calibri</vt:lpstr>
      <vt:lpstr>Calibri Light</vt:lpstr>
      <vt:lpstr>Verdana</vt:lpstr>
      <vt:lpstr>Wingdings 2</vt:lpstr>
      <vt:lpstr>Deloitte Brand Theme</vt:lpstr>
      <vt:lpstr>think-cell Slide</vt:lpstr>
      <vt:lpstr>Tecnologias de Mercado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4 Sales Integration for German Market  Lessons learned</dc:title>
  <dc:creator>Silva, Cesar Augusto</dc:creator>
  <cp:lastModifiedBy>Silva, Cesar Augusto</cp:lastModifiedBy>
  <cp:revision>37</cp:revision>
  <dcterms:created xsi:type="dcterms:W3CDTF">2021-08-09T07:54:20Z</dcterms:created>
  <dcterms:modified xsi:type="dcterms:W3CDTF">2021-12-15T16:30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08-09T07:54:20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61437e0c-0aaa-4715-9ed2-33a908e801ea</vt:lpwstr>
  </property>
  <property fmtid="{D5CDD505-2E9C-101B-9397-08002B2CF9AE}" pid="8" name="MSIP_Label_ea60d57e-af5b-4752-ac57-3e4f28ca11dc_ContentBits">
    <vt:lpwstr>0</vt:lpwstr>
  </property>
</Properties>
</file>